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16261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2D8A22B-7A2D-4BBA-9A16-950E3C5F5465}" v="7" dt="2023-05-10T09:31:59.13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7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7" Type="http://schemas.microsoft.com/office/2015/10/relationships/revisionInfo" Target="revisionInfo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8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9.jpg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F4B0007-DA02-48C7-9137-9386DFC24A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7856" y="795662"/>
            <a:ext cx="4927845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100" y="1954221"/>
            <a:ext cx="4326679" cy="979702"/>
          </a:xfrm>
        </p:spPr>
        <p:txBody>
          <a:bodyPr/>
          <a:lstStyle>
            <a:lvl1pPr>
              <a:defRPr sz="2999" b="0">
                <a:solidFill>
                  <a:schemeClr val="tx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100" y="3046159"/>
            <a:ext cx="4326679" cy="1046323"/>
          </a:xfr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999">
                <a:solidFill>
                  <a:schemeClr val="tx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</p:grpSp>
    </p:spTree>
    <p:extLst>
      <p:ext uri="{BB962C8B-B14F-4D97-AF65-F5344CB8AC3E}">
        <p14:creationId xmlns:p14="http://schemas.microsoft.com/office/powerpoint/2010/main" val="26776613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3938" y="0"/>
            <a:ext cx="5968062" cy="6858000"/>
          </a:xfrm>
        </p:spPr>
        <p:txBody>
          <a:bodyPr/>
          <a:lstStyle/>
          <a:p>
            <a:r>
              <a:rPr lang="en-US" dirty="0"/>
              <a:t>Click icon to add picture</a:t>
            </a:r>
            <a:endParaRPr lang="en-I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513" y="2578743"/>
            <a:ext cx="4535597" cy="1055708"/>
          </a:xfrm>
        </p:spPr>
        <p:txBody>
          <a:bodyPr/>
          <a:lstStyle>
            <a:lvl1pPr marL="0" indent="0">
              <a:buNone/>
              <a:defRPr sz="2999"/>
            </a:lvl1pPr>
          </a:lstStyle>
          <a:p>
            <a:pPr lvl="0"/>
            <a:r>
              <a:rPr lang="en-IN"/>
              <a:t>Chapter Title</a:t>
            </a:r>
          </a:p>
          <a:p>
            <a:pPr lvl="0"/>
            <a:r>
              <a:rPr lang="en-IN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513" y="3840384"/>
            <a:ext cx="4535597" cy="1055708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IN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6DB61-969F-46BA-942C-3600269FA4D1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7C562FF-E912-4424-B259-AED677C026A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2C1B82-1A85-4CFD-98C3-C21698A96B6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166044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600" y="1137921"/>
            <a:ext cx="4954924" cy="4267457"/>
          </a:xfrm>
        </p:spPr>
        <p:txBody>
          <a:bodyPr/>
          <a:lstStyle/>
          <a:p>
            <a:r>
              <a:rPr lang="en-US" dirty="0"/>
              <a:t>Click icon to add table</a:t>
            </a:r>
            <a:endParaRPr lang="en-IN" dirty="0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29748" y="3813288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29748" y="4055931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 to go her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19820" y="3578084"/>
            <a:ext cx="778554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19821" y="1137921"/>
            <a:ext cx="5462580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19821" y="1635009"/>
            <a:ext cx="5462580" cy="1611554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US"/>
              <a:t>Content EY Interstate Light, 16pt, Lorem ipsum dolor, 12pt, </a:t>
            </a:r>
            <a:r>
              <a:rPr lang="en-US" err="1"/>
              <a:t>Utin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abhorreant</a:t>
            </a:r>
            <a:r>
              <a:rPr lang="en-US"/>
              <a:t> </a:t>
            </a:r>
            <a:r>
              <a:rPr lang="en-US" err="1"/>
              <a:t>sead</a:t>
            </a:r>
            <a:r>
              <a:rPr lang="en-US"/>
              <a:t>. </a:t>
            </a:r>
            <a:r>
              <a:rPr lang="en-US" err="1"/>
              <a:t>Putant</a:t>
            </a:r>
            <a:r>
              <a:rPr lang="en-US"/>
              <a:t> </a:t>
            </a:r>
            <a:r>
              <a:rPr lang="en-US" err="1"/>
              <a:t>probatus</a:t>
            </a:r>
            <a:r>
              <a:rPr lang="en-US"/>
              <a:t> id vis, ad his </a:t>
            </a:r>
            <a:r>
              <a:rPr lang="en-US" err="1"/>
              <a:t>meis</a:t>
            </a:r>
            <a:r>
              <a:rPr lang="en-US"/>
              <a:t> </a:t>
            </a:r>
            <a:r>
              <a:rPr lang="en-US" err="1"/>
              <a:t>habemus</a:t>
            </a:r>
            <a:r>
              <a:rPr lang="en-US"/>
              <a:t> </a:t>
            </a:r>
            <a:r>
              <a:rPr lang="en-US" err="1"/>
              <a:t>repudiare</a:t>
            </a:r>
            <a:r>
              <a:rPr lang="en-US"/>
              <a:t>, has an </a:t>
            </a:r>
            <a:r>
              <a:rPr lang="en-US" err="1"/>
              <a:t>pericula</a:t>
            </a:r>
            <a:r>
              <a:rPr lang="en-US"/>
              <a:t> </a:t>
            </a:r>
            <a:r>
              <a:rPr lang="en-US" err="1"/>
              <a:t>tractatos</a:t>
            </a:r>
            <a:r>
              <a:rPr lang="en-US"/>
              <a:t>.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debitis</a:t>
            </a:r>
            <a:r>
              <a:rPr lang="en-US"/>
              <a:t> </a:t>
            </a:r>
            <a:r>
              <a:rPr lang="en-US" err="1"/>
              <a:t>dissentias</a:t>
            </a:r>
            <a:r>
              <a:rPr lang="en-US"/>
              <a:t> ad. </a:t>
            </a:r>
            <a:r>
              <a:rPr lang="en-US" err="1"/>
              <a:t>Patrioque</a:t>
            </a:r>
            <a:r>
              <a:rPr lang="en-US"/>
              <a:t> </a:t>
            </a:r>
            <a:r>
              <a:rPr lang="en-US" err="1"/>
              <a:t>voluptatum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ex, id </a:t>
            </a:r>
            <a:r>
              <a:rPr lang="en-US" err="1"/>
              <a:t>admodum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5822E28-B24F-4CF6-8F50-70ED7C22A114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65E1CD-A05B-41DC-B488-E4BA204E7AE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16ABDB-CF45-4001-9487-F3BA3DD8DAC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170793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D06B42-27A8-4223-AE57-EB729EB5FC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1F4AD2-0FC3-4A7D-B553-FC19C918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E89B92-9E6D-4E4B-A5F6-7BC8B1612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658744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1378" y="2060235"/>
            <a:ext cx="5289245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 algn="ctr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1378" y="5506678"/>
            <a:ext cx="5289245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FFE600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1378" y="5818717"/>
            <a:ext cx="5289245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599" dirty="0" smtClean="0"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7415" y="979788"/>
            <a:ext cx="2337171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194" dirty="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181851293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102" y="1488927"/>
            <a:ext cx="2337171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194" dirty="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083" y="2526765"/>
            <a:ext cx="5289245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083" y="4632765"/>
            <a:ext cx="5289245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083" y="4971442"/>
            <a:ext cx="5289245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3468239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1" y="1137920"/>
            <a:ext cx="8234455" cy="483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56438">
              <a:defRPr>
                <a:solidFill>
                  <a:schemeClr val="bg1"/>
                </a:solidFill>
              </a:defRPr>
            </a:lvl2pPr>
            <a:lvl3pPr marL="712875">
              <a:defRPr>
                <a:solidFill>
                  <a:schemeClr val="bg1"/>
                </a:solidFill>
              </a:defRPr>
            </a:lvl3pPr>
            <a:lvl4pPr marL="1069313">
              <a:defRPr>
                <a:solidFill>
                  <a:schemeClr val="bg1"/>
                </a:solidFill>
              </a:defRPr>
            </a:lvl4pPr>
            <a:lvl5pPr marL="1425751"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DAEB49-9ADD-490C-B904-979B3953B8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528C68-2511-4745-B448-A5AA41E7BF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5C8157-0191-4E69-819F-DB4437686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622231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B88B559-CD59-4D3D-87C0-5D51BCF9B7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36FB98F-FBCE-4F2C-978B-A5576B5774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A95690-F0A7-4101-82DB-B17CE6B7A4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4408505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1" y="1137919"/>
            <a:ext cx="5384800" cy="4834800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137919"/>
            <a:ext cx="5384800" cy="4834800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20B9B26-E95B-4DC1-A613-4C0C0933C7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D7373D8-2AB5-4625-822C-B1F2B5CDC3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76E3B4B-D68B-4AFA-A20D-2ECE69120F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6375783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329" y="1869441"/>
            <a:ext cx="5390400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6405" y="1869441"/>
            <a:ext cx="5390400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601" y="1137920"/>
            <a:ext cx="53904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6405" y="1137920"/>
            <a:ext cx="53904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9FCCF0-19BC-4024-9BCA-E14DB77EAF2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2B54F7E-BDC4-4386-B2E2-1FC66609D14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4FBF9A-EC9A-41E4-A24C-ECB5DC15CCD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6417147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8EDF149-816A-4257-A64D-E23E91A506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78256F-B716-4FA1-B0CC-85D20C72FC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344F6A-D6D0-4CE3-8495-873C004D38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883905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497856" y="5826613"/>
            <a:ext cx="3876004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944388" y="2158329"/>
            <a:ext cx="4781392" cy="86040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944580" y="3200329"/>
            <a:ext cx="4805525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489112" y="723658"/>
            <a:ext cx="5677988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 dirty="0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89112" y="4021756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774294" y="4021756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 dirty="0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059359" y="4021756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 dirty="0"/>
          </a:p>
        </p:txBody>
      </p:sp>
      <p:grpSp>
        <p:nvGrpSpPr>
          <p:cNvPr id="104" name="Group 4">
            <a:extLst>
              <a:ext uri="{FF2B5EF4-FFF2-40B4-BE49-F238E27FC236}">
                <a16:creationId xmlns:a16="http://schemas.microsoft.com/office/drawing/2014/main" id="{89402076-F24D-44C5-B8A7-1127F9C4B9B7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105" name="Freeform 5">
              <a:extLst>
                <a:ext uri="{FF2B5EF4-FFF2-40B4-BE49-F238E27FC236}">
                  <a16:creationId xmlns:a16="http://schemas.microsoft.com/office/drawing/2014/main" id="{A239DDBF-0740-4B20-9CF3-A05C2A0BF5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06" name="Freeform 6">
              <a:extLst>
                <a:ext uri="{FF2B5EF4-FFF2-40B4-BE49-F238E27FC236}">
                  <a16:creationId xmlns:a16="http://schemas.microsoft.com/office/drawing/2014/main" id="{380EECCA-3396-425E-AB04-F11ABB1B509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</p:grpSp>
    </p:spTree>
    <p:extLst>
      <p:ext uri="{BB962C8B-B14F-4D97-AF65-F5344CB8AC3E}">
        <p14:creationId xmlns:p14="http://schemas.microsoft.com/office/powerpoint/2010/main" val="10246339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139B669-D18F-448E-A005-0A353671C9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031300-352D-4FEE-9216-28FB241372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ADEB71-FD7D-4974-99DD-0F48E04667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66459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570B882-5FC5-4C48-9562-890886DDED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92E7899-FE60-4FDA-8608-58147D091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A32B5C-3285-477F-B755-A6F2F0F4D3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801065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37416E9-5919-4213-81D7-5E74B3B61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DFF1B2-A745-40FB-B885-B3638A4F41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C9AD96-7B7E-4E05-90E8-1F98943B0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963665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0624633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 dirty="0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11B3654-4C35-482F-B580-02C23F975B9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62EFEC5-10C4-4E79-B06E-F14B8F305F9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C05763-C066-4818-A1DF-64ED4D64BE2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1899066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C129049-E3D5-4C0A-BB1F-72BEDB1FB59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4" y="0"/>
            <a:ext cx="12185653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909852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3">
            <a:extLst>
              <a:ext uri="{FF2B5EF4-FFF2-40B4-BE49-F238E27FC236}">
                <a16:creationId xmlns:a16="http://schemas.microsoft.com/office/drawing/2014/main" id="{501A2F11-32A0-4526-A5F7-F4382DA5B47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0" y="0"/>
            <a:ext cx="12185653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9681126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E83BDE2E-2BCF-4140-945E-7D5610CDE4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49" y="0"/>
            <a:ext cx="12185658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5999493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3653768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7856" y="795662"/>
            <a:ext cx="4927845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100" y="1954221"/>
            <a:ext cx="4326679" cy="979702"/>
          </a:xfr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100" y="3046159"/>
            <a:ext cx="4326679" cy="1046323"/>
          </a:xfr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9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</p:grpSp>
    </p:spTree>
    <p:extLst>
      <p:ext uri="{BB962C8B-B14F-4D97-AF65-F5344CB8AC3E}">
        <p14:creationId xmlns:p14="http://schemas.microsoft.com/office/powerpoint/2010/main" val="4234109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" name="Picture 74">
            <a:extLst>
              <a:ext uri="{FF2B5EF4-FFF2-40B4-BE49-F238E27FC236}">
                <a16:creationId xmlns:a16="http://schemas.microsoft.com/office/drawing/2014/main" id="{32889845-07EE-48FB-A972-F8ECF1EF87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644" b="502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5" name="Graphic 84">
            <a:extLst>
              <a:ext uri="{FF2B5EF4-FFF2-40B4-BE49-F238E27FC236}">
                <a16:creationId xmlns:a16="http://schemas.microsoft.com/office/drawing/2014/main" id="{819BCB30-E1AA-4383-BEF0-0BE30C6425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89111" y="869577"/>
            <a:ext cx="4845500" cy="3933825"/>
          </a:xfrm>
          <a:prstGeom prst="rect">
            <a:avLst/>
          </a:prstGeom>
        </p:spPr>
      </p:pic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7856" y="5826613"/>
            <a:ext cx="3876004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388" y="2158329"/>
            <a:ext cx="3998354" cy="86040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4580" y="3200329"/>
            <a:ext cx="4018535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82" name="Group 4">
            <a:extLst>
              <a:ext uri="{FF2B5EF4-FFF2-40B4-BE49-F238E27FC236}">
                <a16:creationId xmlns:a16="http://schemas.microsoft.com/office/drawing/2014/main" id="{A63454B3-EB4E-450A-98AA-6B5943D8973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C4ED221A-C963-42C0-91ED-C597F6BDAF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7956D1CB-5F24-4766-80AE-D755153834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</p:grpSp>
    </p:spTree>
    <p:extLst>
      <p:ext uri="{BB962C8B-B14F-4D97-AF65-F5344CB8AC3E}">
        <p14:creationId xmlns:p14="http://schemas.microsoft.com/office/powerpoint/2010/main" val="31178734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7856" y="795662"/>
            <a:ext cx="4927845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100" y="1954221"/>
            <a:ext cx="4326679" cy="979702"/>
          </a:xfr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100" y="3046159"/>
            <a:ext cx="4326679" cy="1046323"/>
          </a:xfr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9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332490" y="5709060"/>
            <a:ext cx="8117873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461744" y="5605201"/>
            <a:ext cx="1044529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199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2490" y="6019189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2490" y="6216807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743" y="5914642"/>
            <a:ext cx="5757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63F02F42-4916-4588-807F-4BB7367EB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0BD928C5-1C7D-4599-A7E9-8AB1B188C6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37C281E8-2924-471F-A849-26C37A059B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</p:grpSp>
    </p:spTree>
    <p:extLst>
      <p:ext uri="{BB962C8B-B14F-4D97-AF65-F5344CB8AC3E}">
        <p14:creationId xmlns:p14="http://schemas.microsoft.com/office/powerpoint/2010/main" val="37800076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7856" y="5826613"/>
            <a:ext cx="3876004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388" y="2158329"/>
            <a:ext cx="3998354" cy="86040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4580" y="3200329"/>
            <a:ext cx="4018535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 userDrawn="1"/>
        </p:nvGrpSpPr>
        <p:grpSpPr>
          <a:xfrm>
            <a:off x="489112" y="876059"/>
            <a:ext cx="4852768" cy="3374475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 dirty="0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 dirty="0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 dirty="0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 dirty="0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</p:grpSp>
    </p:spTree>
    <p:extLst>
      <p:ext uri="{BB962C8B-B14F-4D97-AF65-F5344CB8AC3E}">
        <p14:creationId xmlns:p14="http://schemas.microsoft.com/office/powerpoint/2010/main" val="1379084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497856" y="5826613"/>
            <a:ext cx="3876004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944388" y="2158329"/>
            <a:ext cx="4781392" cy="86040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944580" y="3200329"/>
            <a:ext cx="4805525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489112" y="723658"/>
            <a:ext cx="5677988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 dirty="0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89112" y="4021756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774294" y="4021756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 dirty="0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059359" y="4021756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 dirty="0"/>
          </a:p>
        </p:txBody>
      </p:sp>
      <p:grpSp>
        <p:nvGrpSpPr>
          <p:cNvPr id="76" name="Group 4">
            <a:extLst>
              <a:ext uri="{FF2B5EF4-FFF2-40B4-BE49-F238E27FC236}">
                <a16:creationId xmlns:a16="http://schemas.microsoft.com/office/drawing/2014/main" id="{9D60B6B0-F7ED-4B9F-A77C-632AC4EA661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77" name="Freeform 5">
              <a:extLst>
                <a:ext uri="{FF2B5EF4-FFF2-40B4-BE49-F238E27FC236}">
                  <a16:creationId xmlns:a16="http://schemas.microsoft.com/office/drawing/2014/main" id="{CC1B45B9-64DF-4C5B-9711-FA69AD5370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78" name="Freeform 6">
              <a:extLst>
                <a:ext uri="{FF2B5EF4-FFF2-40B4-BE49-F238E27FC236}">
                  <a16:creationId xmlns:a16="http://schemas.microsoft.com/office/drawing/2014/main" id="{BA55CB73-EE25-43B6-9720-855E16C4B1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</p:grpSp>
    </p:spTree>
    <p:extLst>
      <p:ext uri="{BB962C8B-B14F-4D97-AF65-F5344CB8AC3E}">
        <p14:creationId xmlns:p14="http://schemas.microsoft.com/office/powerpoint/2010/main" val="30497834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600" y="1137921"/>
            <a:ext cx="4954924" cy="4267457"/>
          </a:xfrm>
        </p:spPr>
        <p:txBody>
          <a:bodyPr/>
          <a:lstStyle/>
          <a:p>
            <a:r>
              <a:rPr lang="en-US" dirty="0"/>
              <a:t>Click icon to add table</a:t>
            </a:r>
            <a:endParaRPr lang="en-IN" dirty="0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29748" y="3813288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29748" y="4055931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 to go her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19820" y="3578084"/>
            <a:ext cx="778554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19821" y="1137921"/>
            <a:ext cx="5462580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19821" y="1635009"/>
            <a:ext cx="5462580" cy="1611554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US"/>
              <a:t>Content EY Interstate Light, 16pt, Lorem ipsum dolor, 12pt, </a:t>
            </a:r>
            <a:r>
              <a:rPr lang="en-US" err="1"/>
              <a:t>Utin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abhorreant</a:t>
            </a:r>
            <a:r>
              <a:rPr lang="en-US"/>
              <a:t> </a:t>
            </a:r>
            <a:r>
              <a:rPr lang="en-US" err="1"/>
              <a:t>sead</a:t>
            </a:r>
            <a:r>
              <a:rPr lang="en-US"/>
              <a:t>. </a:t>
            </a:r>
            <a:r>
              <a:rPr lang="en-US" err="1"/>
              <a:t>Putant</a:t>
            </a:r>
            <a:r>
              <a:rPr lang="en-US"/>
              <a:t> </a:t>
            </a:r>
            <a:r>
              <a:rPr lang="en-US" err="1"/>
              <a:t>probatus</a:t>
            </a:r>
            <a:r>
              <a:rPr lang="en-US"/>
              <a:t> id vis, ad his </a:t>
            </a:r>
            <a:r>
              <a:rPr lang="en-US" err="1"/>
              <a:t>meis</a:t>
            </a:r>
            <a:r>
              <a:rPr lang="en-US"/>
              <a:t> </a:t>
            </a:r>
            <a:r>
              <a:rPr lang="en-US" err="1"/>
              <a:t>habemus</a:t>
            </a:r>
            <a:r>
              <a:rPr lang="en-US"/>
              <a:t> </a:t>
            </a:r>
            <a:r>
              <a:rPr lang="en-US" err="1"/>
              <a:t>repudiare</a:t>
            </a:r>
            <a:r>
              <a:rPr lang="en-US"/>
              <a:t>, has an </a:t>
            </a:r>
            <a:r>
              <a:rPr lang="en-US" err="1"/>
              <a:t>pericula</a:t>
            </a:r>
            <a:r>
              <a:rPr lang="en-US"/>
              <a:t> </a:t>
            </a:r>
            <a:r>
              <a:rPr lang="en-US" err="1"/>
              <a:t>tractatos</a:t>
            </a:r>
            <a:r>
              <a:rPr lang="en-US"/>
              <a:t>.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debitis</a:t>
            </a:r>
            <a:r>
              <a:rPr lang="en-US"/>
              <a:t> </a:t>
            </a:r>
            <a:r>
              <a:rPr lang="en-US" err="1"/>
              <a:t>dissentias</a:t>
            </a:r>
            <a:r>
              <a:rPr lang="en-US"/>
              <a:t> ad. </a:t>
            </a:r>
            <a:r>
              <a:rPr lang="en-US" err="1"/>
              <a:t>Patrioque</a:t>
            </a:r>
            <a:r>
              <a:rPr lang="en-US"/>
              <a:t> </a:t>
            </a:r>
            <a:r>
              <a:rPr lang="en-US" err="1"/>
              <a:t>voluptatum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ex, id </a:t>
            </a:r>
            <a:r>
              <a:rPr lang="en-US" err="1"/>
              <a:t>admodum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A661012-3455-4F88-94AD-14869D2D5405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1FBA45-9D10-4CA1-B5FE-DF08BC4B79D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1C45D8-BA71-4A92-82B2-C059AF6B670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7553407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369FE1-2141-4E78-8B01-84E57EEFE0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4482B3-B946-42D6-98EA-72EE48EEB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2DD5AC-66F0-425C-A9DE-048451319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3769693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94852" y="1"/>
            <a:ext cx="3997149" cy="6156104"/>
          </a:xfrm>
        </p:spPr>
        <p:txBody>
          <a:bodyPr/>
          <a:lstStyle/>
          <a:p>
            <a:r>
              <a:rPr lang="en-US" dirty="0"/>
              <a:t>Click icon to add picture</a:t>
            </a:r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7440547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1" y="1137921"/>
            <a:ext cx="7295842" cy="873760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601" y="2311401"/>
            <a:ext cx="3578253" cy="384470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7190" y="2311402"/>
            <a:ext cx="3578253" cy="1254759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7190" y="4236721"/>
            <a:ext cx="3578253" cy="1944160"/>
          </a:xfrm>
        </p:spPr>
        <p:txBody>
          <a:bodyPr numCol="1"/>
          <a:lstStyle>
            <a:lvl1pPr marL="0" indent="0">
              <a:buNone/>
              <a:defRPr sz="1799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77198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73C7F4-1F66-48B4-8A7F-96C64986A20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8F1198-1F5C-4C8B-A7E4-2658430FBCF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EA2D1B-5973-42E9-87B4-02C40C0EF1B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8959397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2383219" cy="6857999"/>
          </a:xfrm>
        </p:spPr>
        <p:txBody>
          <a:bodyPr/>
          <a:lstStyle/>
          <a:p>
            <a:r>
              <a:rPr lang="en-US" dirty="0"/>
              <a:t>Click icon to add picture</a:t>
            </a:r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3891" y="294200"/>
            <a:ext cx="8887371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3890" y="1137921"/>
            <a:ext cx="2741454" cy="5018184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4102" y="1137921"/>
            <a:ext cx="2802382" cy="501818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5241" y="1137922"/>
            <a:ext cx="2767159" cy="2796151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3891" y="907750"/>
            <a:ext cx="8887371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8571DE-086F-444C-976E-D386CED54CF9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178D09-F6E9-4981-B6E0-209D099207E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E170B6-45D3-4E0A-A799-1F973EAAC5E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1283413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102" y="1488927"/>
            <a:ext cx="2337171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194" dirty="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083" y="2526765"/>
            <a:ext cx="5289245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083" y="4632765"/>
            <a:ext cx="5289245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083" y="4971442"/>
            <a:ext cx="5289245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85533454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1378" y="2060235"/>
            <a:ext cx="5289245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 algn="ctr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1378" y="5506678"/>
            <a:ext cx="5289245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1378" y="5818717"/>
            <a:ext cx="5289245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7415" y="979788"/>
            <a:ext cx="2337171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194" dirty="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102364302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987471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8806A2-2AA7-4EC7-8FA5-6DD8E9FC1A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56F6B4-9E49-490D-8FE1-DB9035090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C35AEC-478D-4BBF-9883-4CE09EB36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C5F387F-0A77-424D-88D8-FFE5F0CA22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761761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D9F631-BCA2-47E9-B382-A1254CE498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1D1872-1F65-44DE-8D43-3328C27B58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6C50CF-7368-4D25-B2B5-360BA59E76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621293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 dirty="0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43830C-23AE-48E4-B9DE-E91E6CE0B8B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F742A9-BF69-4BF2-966C-3D76FC687FB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B65F912-EBE8-413B-A241-0FB3A540BA8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88829681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7B5C6B-B98B-4A4C-A8A7-B006989B59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EF6675-2050-4038-B9E1-B80DB63D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A4D6F3-1431-4069-B814-2558466772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1155382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897186E-D73E-46D0-965A-D83686BA73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DEF40EA-FE63-4D50-8C90-EC25A860C0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37420B-CF82-4784-8E9C-5C496E27C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2719808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BD5E823-546D-4100-9D33-42F450A382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EEA008-3E80-49A8-A128-C1EEB8A02F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192330-2E70-49F4-A5DA-F82320E70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6285709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329" y="1869441"/>
            <a:ext cx="5390400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6405" y="1869441"/>
            <a:ext cx="5390400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601" y="1137920"/>
            <a:ext cx="53904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6405" y="1137920"/>
            <a:ext cx="53904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A3CD3F7-62DC-4CC4-8F34-C353DB087D7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D2EC01-3D34-4D32-9B76-5269D1AA465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BE1C2B-4DA4-468F-9976-85F6CBF82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4329731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616" y="2851522"/>
            <a:ext cx="4445485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8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438" marR="0" lvl="0" indent="-356438" defTabSz="100738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00C2D9D-B0D7-494E-9184-FCD6E94AACE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87FD91A-AB40-450B-8784-9A5D99C62D8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CE5F90-7113-4FA1-AFCF-3BC8EF01000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2780135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BD5388A-86DF-494E-B137-EE20B7E1CF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97E548-6FF4-4D89-ADE0-60181F5365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0B0A8B-D001-432B-877C-21558412BB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977632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8852858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Ma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9D4F80EC-13C1-4EC0-8857-BCEC00019E7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4" y="0"/>
            <a:ext cx="12188826" cy="6858000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D21B0C6-4086-48B0-8F6B-A48633CF63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2526579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D21B0C6-4086-48B0-8F6B-A48633CF63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7455045-0052-4F3F-B08B-B86BBEDF2D3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999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100" y="1954221"/>
            <a:ext cx="4326679" cy="979702"/>
          </a:xfrm>
        </p:spPr>
        <p:txBody>
          <a:bodyPr vert="horz"/>
          <a:lstStyle>
            <a:lvl1pPr>
              <a:defRPr sz="2999" b="0">
                <a:solidFill>
                  <a:schemeClr val="tx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100" y="3046159"/>
            <a:ext cx="4326679" cy="1046323"/>
          </a:xfr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999">
                <a:solidFill>
                  <a:schemeClr val="tx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</p:grpSp>
      <p:sp>
        <p:nvSpPr>
          <p:cNvPr id="18" name="Freeform 5">
            <a:extLst>
              <a:ext uri="{FF2B5EF4-FFF2-40B4-BE49-F238E27FC236}">
                <a16:creationId xmlns:a16="http://schemas.microsoft.com/office/drawing/2014/main" id="{466EE80D-AEC4-45CB-B5F6-CB49419ABAA1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588455" y="746324"/>
            <a:ext cx="5099383" cy="4070989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65668" tIns="32834" rIns="65668" bIns="32834" numCol="1" anchor="t" anchorCtr="0" compatLnSpc="1">
            <a:prstTxWarp prst="textNoShape">
              <a:avLst/>
            </a:prstTxWarp>
          </a:bodyPr>
          <a:lstStyle/>
          <a:p>
            <a:pPr defTabSz="656720"/>
            <a:endParaRPr lang="en-US" sz="1474" dirty="0">
              <a:solidFill>
                <a:srgbClr val="2E2E38"/>
              </a:solidFill>
              <a:latin typeface="EYInterstate Light"/>
            </a:endParaRPr>
          </a:p>
        </p:txBody>
      </p:sp>
    </p:spTree>
    <p:extLst>
      <p:ext uri="{BB962C8B-B14F-4D97-AF65-F5344CB8AC3E}">
        <p14:creationId xmlns:p14="http://schemas.microsoft.com/office/powerpoint/2010/main" val="18496055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0F0AABF-D862-4E52-856A-98A908BD81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F5FDC76-F946-4827-A773-FCD68068B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BF873B-E40B-4AF7-8D2F-967775EB8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569438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94852" y="1"/>
            <a:ext cx="3997149" cy="6156104"/>
          </a:xfrm>
        </p:spPr>
        <p:txBody>
          <a:bodyPr/>
          <a:lstStyle/>
          <a:p>
            <a:r>
              <a:rPr lang="en-US" dirty="0"/>
              <a:t>Click icon to add picture</a:t>
            </a:r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7440547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1" y="1137921"/>
            <a:ext cx="7295842" cy="873760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601" y="2311401"/>
            <a:ext cx="3578253" cy="384470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7190" y="2311402"/>
            <a:ext cx="3578253" cy="1254759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7190" y="4236721"/>
            <a:ext cx="3578253" cy="1944160"/>
          </a:xfrm>
        </p:spPr>
        <p:txBody>
          <a:bodyPr numCol="1"/>
          <a:lstStyle>
            <a:lvl1pPr marL="0" indent="0">
              <a:buNone/>
              <a:defRPr sz="1799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77198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FDA286-FC7C-4768-AFFF-1618056D687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9C73E4D-1EBD-404A-B8F4-9B8AD7336F3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159C267-49E7-46A8-B353-C5EB81154AB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126811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2383219" cy="6857999"/>
          </a:xfrm>
        </p:spPr>
        <p:txBody>
          <a:bodyPr/>
          <a:lstStyle/>
          <a:p>
            <a:r>
              <a:rPr lang="en-US" dirty="0"/>
              <a:t>Click icon to add picture</a:t>
            </a:r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3891" y="294200"/>
            <a:ext cx="8887371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3890" y="1137921"/>
            <a:ext cx="2741454" cy="5018184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4102" y="1137921"/>
            <a:ext cx="2802382" cy="501818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5241" y="1137922"/>
            <a:ext cx="2767159" cy="2796151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3891" y="907750"/>
            <a:ext cx="8887371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7DDD53-DA5D-4F66-8EAA-913A40461E30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9A18168-B280-402E-8310-35BC958D390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7D562B9-5194-4705-ABBD-89576E2CC7A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872701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1" y="1137920"/>
            <a:ext cx="8234455" cy="483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799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599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399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869D6F-A030-48CA-9C7C-9FC3A6F1F6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02C3F7-BD0A-4AD4-95D8-328DA6F539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4422C8-68BE-4650-89F1-3BECCFF9B5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18833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616" y="2851522"/>
            <a:ext cx="4445485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8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438" marR="0" lvl="0" indent="-356438" defTabSz="100738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84443D1-37A3-4969-A6D3-4E99E05604B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AB04F4-59F4-4102-9BBD-DB62B48E184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99AB0A-887B-46B8-BA72-781970F002C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997592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ABA621AC-91DA-4716-A450-56540FA39C3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1250" y="6356350"/>
            <a:ext cx="303055" cy="311150"/>
            <a:chOff x="7110" y="4004"/>
            <a:chExt cx="191" cy="196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76E3EDA9-8EAC-419E-8C11-4E1E158AF7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ABC9458B-8C2C-486A-8ADE-F22CCDC7E2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0A4C4046-69B4-41DA-AA2E-E892AEC9AA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</p:grp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600772EA-C6B0-4F5D-AA59-01C0858EFAD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28184" y="6471244"/>
            <a:ext cx="1190638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3943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endParaRPr lang="en-IN" dirty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AC28FA70-87E4-49F4-AFDE-345AA28E0B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37502" y="6471244"/>
            <a:ext cx="3084493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3943" rtl="0" eaLnBrk="1" latinLnBrk="0" hangingPunct="1">
              <a:defRPr lang="en-IN" sz="8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3B540F9A-D485-4BD0-B905-41F8A52593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6900" y="6471244"/>
            <a:ext cx="662721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3943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291393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</p:sldLayoutIdLst>
  <p:hf hdr="0" ftr="0" dt="0"/>
  <p:txStyles>
    <p:titleStyle>
      <a:lvl1pPr algn="l" defTabSz="913943" rtl="0" eaLnBrk="1" latinLnBrk="0" hangingPunct="1">
        <a:lnSpc>
          <a:spcPct val="85000"/>
        </a:lnSpc>
        <a:spcBef>
          <a:spcPct val="0"/>
        </a:spcBef>
        <a:buNone/>
        <a:defRPr sz="2399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43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9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2875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7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313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5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5751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3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218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1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402D2B-FB3D-2D11-8951-85F607A03C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/>
              <a:t>CV Templat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E6F9EFC-FB38-5C30-DAA8-D53E1E02E821}"/>
              </a:ext>
            </a:extLst>
          </p:cNvPr>
          <p:cNvGrpSpPr/>
          <p:nvPr/>
        </p:nvGrpSpPr>
        <p:grpSpPr>
          <a:xfrm>
            <a:off x="802013" y="1566366"/>
            <a:ext cx="3250142" cy="2029361"/>
            <a:chOff x="5233093" y="1753113"/>
            <a:chExt cx="3250142" cy="2029361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CE140F03-3D41-1B60-D94F-E84D58B5B309}"/>
                </a:ext>
              </a:extLst>
            </p:cNvPr>
            <p:cNvSpPr txBox="1"/>
            <p:nvPr/>
          </p:nvSpPr>
          <p:spPr>
            <a:xfrm>
              <a:off x="5233093" y="2459035"/>
              <a:ext cx="3250142" cy="132343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IE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Abhishek is in EY UKI MCSG Ireland for last 1.6 years and has total of 4+ years of </a:t>
              </a:r>
              <a:r>
                <a:rPr lang="en-IE" sz="800" dirty="0">
                  <a:solidFill>
                    <a:prstClr val="white"/>
                  </a:solidFill>
                  <a:latin typeface="EYInterstate Light"/>
                </a:rPr>
                <a:t>IT experience. In which Abhishek has two years of Cloud Consulting experience and overall four years of IT experience who is passionate about Microsoft Azure and automation. Abhishek has technical expertise and hands-on working experience with Microsoft Azure, Azure DevOps, Git, Cloud Infrastructure as Code deployment – terraform, DevOps deployment of microservices and </a:t>
              </a:r>
              <a:r>
                <a:rPr lang="en-IE" sz="800" dirty="0" err="1">
                  <a:solidFill>
                    <a:prstClr val="white"/>
                  </a:solidFill>
                  <a:latin typeface="EYInterstate Light"/>
                </a:rPr>
                <a:t>Molithic</a:t>
              </a:r>
              <a:r>
                <a:rPr lang="en-IE" sz="800" dirty="0">
                  <a:solidFill>
                    <a:prstClr val="white"/>
                  </a:solidFill>
                  <a:latin typeface="EYInterstate Light"/>
                </a:rPr>
                <a:t> architecture, </a:t>
              </a:r>
              <a:r>
                <a:rPr lang="en-IE" sz="800" dirty="0" err="1">
                  <a:solidFill>
                    <a:prstClr val="white"/>
                  </a:solidFill>
                  <a:latin typeface="EYInterstate Light"/>
                </a:rPr>
                <a:t>Progaming</a:t>
              </a:r>
              <a:r>
                <a:rPr lang="en-IE" sz="800" dirty="0">
                  <a:solidFill>
                    <a:prstClr val="white"/>
                  </a:solidFill>
                  <a:latin typeface="EYInterstate Light"/>
                </a:rPr>
                <a:t> – </a:t>
              </a:r>
              <a:r>
                <a:rPr lang="en-IE" sz="800" dirty="0" err="1">
                  <a:solidFill>
                    <a:prstClr val="white"/>
                  </a:solidFill>
                  <a:latin typeface="EYInterstate Light"/>
                </a:rPr>
                <a:t>primarly</a:t>
              </a:r>
              <a:r>
                <a:rPr lang="en-IE" sz="800" dirty="0">
                  <a:solidFill>
                    <a:prstClr val="white"/>
                  </a:solidFill>
                  <a:latin typeface="EYInterstate Light"/>
                </a:rPr>
                <a:t> python, scripting – </a:t>
              </a:r>
              <a:r>
                <a:rPr lang="en-IE" sz="800" dirty="0" err="1">
                  <a:solidFill>
                    <a:prstClr val="white"/>
                  </a:solidFill>
                  <a:latin typeface="EYInterstate Light"/>
                </a:rPr>
                <a:t>Powershell</a:t>
              </a:r>
              <a:r>
                <a:rPr lang="en-IE" sz="800" dirty="0">
                  <a:solidFill>
                    <a:prstClr val="white"/>
                  </a:solidFill>
                  <a:latin typeface="EYInterstate Light"/>
                </a:rPr>
                <a:t> and CLI tools and various services/ deployment automation solutions.</a:t>
              </a:r>
              <a:endParaRPr kumimoji="0" lang="en-IE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2EA022C2-CDB2-1A0C-91D7-3957EEE1C051}"/>
                </a:ext>
              </a:extLst>
            </p:cNvPr>
            <p:cNvSpPr txBox="1"/>
            <p:nvPr/>
          </p:nvSpPr>
          <p:spPr>
            <a:xfrm>
              <a:off x="5759856" y="2033590"/>
              <a:ext cx="2610000" cy="360000"/>
            </a:xfrm>
            <a:prstGeom prst="rect">
              <a:avLst/>
            </a:prstGeom>
            <a:solidFill>
              <a:srgbClr val="FFE600"/>
            </a:solidFill>
            <a:ln w="19050">
              <a:solidFill>
                <a:srgbClr val="FFE600"/>
              </a:solidFill>
            </a:ln>
            <a:effectLst/>
          </p:spPr>
          <p:txBody>
            <a:bodyPr spcFirstLastPara="0" vert="horz" wrap="square" lIns="7620" tIns="7620" rIns="7620" bIns="94388" numCol="1" spcCol="1270" anchor="ctr" anchorCtr="0">
              <a:noAutofit/>
            </a:bodyPr>
            <a:lstStyle>
              <a:defPPr>
                <a:defRPr lang="en-US"/>
              </a:defPPr>
              <a:lvl1pPr algn="ctr" fontAlgn="ctr">
                <a:lnSpc>
                  <a:spcPct val="90000"/>
                </a:lnSpc>
                <a:spcBef>
                  <a:spcPct val="0"/>
                </a:spcBef>
                <a:defRPr sz="700" b="1" kern="0">
                  <a:solidFill>
                    <a:srgbClr val="000000"/>
                  </a:solidFill>
                  <a:latin typeface="EYInterstate" panose="02000503020000020004" pitchFamily="2" charset="0"/>
                  <a:cs typeface="Arial" charset="0"/>
                </a:defRPr>
              </a:lvl1pPr>
            </a:lstStyle>
            <a:p>
              <a:pPr marL="4572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  <a:p>
              <a:pPr marL="4572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Abhishek Danalakota</a:t>
              </a:r>
            </a:p>
            <a:p>
              <a:pPr marL="4572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DevOps/Azure Cloud Engineer</a:t>
              </a:r>
            </a:p>
            <a:p>
              <a:pPr marL="4572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Proposed role: </a:t>
              </a:r>
              <a:r>
                <a:rPr lang="en-US" sz="700" dirty="0">
                  <a:solidFill>
                    <a:srgbClr val="2E2E38"/>
                  </a:solidFill>
                  <a:latin typeface="EYInterstate Light"/>
                </a:rPr>
                <a:t>---</a:t>
              </a:r>
              <a:endPara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CAE0106A-7592-C9D7-7339-C595B1073D6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3231" b="13231"/>
            <a:stretch/>
          </p:blipFill>
          <p:spPr>
            <a:xfrm>
              <a:off x="5233093" y="1753113"/>
              <a:ext cx="687468" cy="673200"/>
            </a:xfrm>
            <a:prstGeom prst="ellipse">
              <a:avLst/>
            </a:prstGeom>
            <a:ln w="12700" cap="rnd">
              <a:solidFill>
                <a:schemeClr val="tx1">
                  <a:lumMod val="20000"/>
                  <a:lumOff val="80000"/>
                </a:schemeClr>
              </a:solidFill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22411598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cZzQ8JJpedarPR6lbI3A"/>
</p:tagLst>
</file>

<file path=ppt/theme/theme1.xml><?xml version="1.0" encoding="utf-8"?>
<a:theme xmlns:a="http://schemas.openxmlformats.org/drawingml/2006/main" name="1_EY dark background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Global_EY_widescreen_presentation_2019_v1.4.pptx" id="{669A4694-7F8C-40EA-92E1-8E6D75010CAB}" vid="{974AC421-4F2E-46A5-9C01-6F171E240785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</TotalTime>
  <Words>113</Words>
  <Application>Microsoft Office PowerPoint</Application>
  <PresentationFormat>Widescreen</PresentationFormat>
  <Paragraphs>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EYInterstate</vt:lpstr>
      <vt:lpstr>EYInterstate Light</vt:lpstr>
      <vt:lpstr>Georgia</vt:lpstr>
      <vt:lpstr>1_EY dark background</vt:lpstr>
      <vt:lpstr>think-cell Slide</vt:lpstr>
      <vt:lpstr>CV Templat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V Template</dc:title>
  <dc:creator>Tshepiso Njikelane</dc:creator>
  <cp:lastModifiedBy>Abhishek Danalakota</cp:lastModifiedBy>
  <cp:revision>2</cp:revision>
  <dcterms:created xsi:type="dcterms:W3CDTF">2023-05-09T13:57:14Z</dcterms:created>
  <dcterms:modified xsi:type="dcterms:W3CDTF">2023-05-10T09:32:39Z</dcterms:modified>
</cp:coreProperties>
</file>